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2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4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15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6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7.xml" ContentType="application/vnd.openxmlformats-officedocument.theme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8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9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20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1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22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2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2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27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28.xml" ContentType="application/vnd.openxmlformats-officedocument.theme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29.xml" ContentType="application/vnd.openxmlformats-officedocument.theme+xml"/>
  <Override PartName="/ppt/theme/theme30.xml" ContentType="application/vnd.openxmlformats-officedocument.theme+xml"/>
  <Override PartName="/ppt/theme/theme3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  <p:sldMasterId id="2147483934" r:id="rId15"/>
    <p:sldMasterId id="2147483947" r:id="rId16"/>
    <p:sldMasterId id="2147483960" r:id="rId17"/>
    <p:sldMasterId id="2147483973" r:id="rId18"/>
    <p:sldMasterId id="2147483978" r:id="rId19"/>
    <p:sldMasterId id="2147483983" r:id="rId20"/>
    <p:sldMasterId id="2147483988" r:id="rId21"/>
    <p:sldMasterId id="2147483993" r:id="rId22"/>
    <p:sldMasterId id="2147483998" r:id="rId23"/>
    <p:sldMasterId id="2147484003" r:id="rId24"/>
    <p:sldMasterId id="2147484008" r:id="rId25"/>
    <p:sldMasterId id="2147484013" r:id="rId26"/>
    <p:sldMasterId id="2147484070" r:id="rId27"/>
    <p:sldMasterId id="2147484075" r:id="rId28"/>
    <p:sldMasterId id="2147484080" r:id="rId29"/>
  </p:sldMasterIdLst>
  <p:notesMasterIdLst>
    <p:notesMasterId r:id="rId32"/>
  </p:notesMasterIdLst>
  <p:handoutMasterIdLst>
    <p:handoutMasterId r:id="rId33"/>
  </p:handoutMasterIdLst>
  <p:sldIdLst>
    <p:sldId id="1058" r:id="rId30"/>
    <p:sldId id="1060" r:id="rId31"/>
  </p:sldIdLst>
  <p:sldSz cx="9906000" cy="6858000" type="A4"/>
  <p:notesSz cx="6797675" cy="9872663"/>
  <p:defaultTextStyle>
    <a:defPPr>
      <a:defRPr lang="ru-RU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36688" indent="-6508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90">
          <p15:clr>
            <a:srgbClr val="A4A3A4"/>
          </p15:clr>
        </p15:guide>
        <p15:guide id="2" orient="horz" pos="2332">
          <p15:clr>
            <a:srgbClr val="A4A3A4"/>
          </p15:clr>
        </p15:guide>
        <p15:guide id="3" pos="337">
          <p15:clr>
            <a:srgbClr val="A4A3A4"/>
          </p15:clr>
        </p15:guide>
        <p15:guide id="4" pos="3120">
          <p15:clr>
            <a:srgbClr val="A4A3A4"/>
          </p15:clr>
        </p15:guide>
        <p15:guide id="5" pos="4033">
          <p15:clr>
            <a:srgbClr val="A4A3A4"/>
          </p15:clr>
        </p15:guide>
        <p15:guide id="6" pos="2468">
          <p15:clr>
            <a:srgbClr val="A4A3A4"/>
          </p15:clr>
        </p15:guide>
        <p15:guide id="7" pos="3293">
          <p15:clr>
            <a:srgbClr val="A4A3A4"/>
          </p15:clr>
        </p15:guide>
        <p15:guide id="8" pos="5932">
          <p15:clr>
            <a:srgbClr val="A4A3A4"/>
          </p15:clr>
        </p15:guide>
        <p15:guide id="9" pos="5859">
          <p15:clr>
            <a:srgbClr val="A4A3A4"/>
          </p15:clr>
        </p15:guide>
        <p15:guide id="10" pos="280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E399"/>
    <a:srgbClr val="D9D9D9"/>
    <a:srgbClr val="537F23"/>
    <a:srgbClr val="76B531"/>
    <a:srgbClr val="131008"/>
    <a:srgbClr val="7D71A3"/>
    <a:srgbClr val="52B9E1"/>
    <a:srgbClr val="467DB5"/>
    <a:srgbClr val="955F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65" autoAdjust="0"/>
    <p:restoredTop sz="98118" autoAdjust="0"/>
  </p:normalViewPr>
  <p:slideViewPr>
    <p:cSldViewPr>
      <p:cViewPr varScale="1">
        <p:scale>
          <a:sx n="72" d="100"/>
          <a:sy n="72" d="100"/>
        </p:scale>
        <p:origin x="72" y="978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notesViewPr>
    <p:cSldViewPr>
      <p:cViewPr varScale="1">
        <p:scale>
          <a:sx n="71" d="100"/>
          <a:sy n="71" d="100"/>
        </p:scale>
        <p:origin x="1576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EE39E87-0D24-48AA-A1F9-D4A0088C5666}" type="datetimeFigureOut">
              <a:rPr lang="ru-RU"/>
              <a:pPr>
                <a:defRPr/>
              </a:pPr>
              <a:t>18.0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EE04F23-28ED-40AA-8348-9689C8ED7C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5673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CFB5EA7-1B16-49D0-81DB-D99B11EC776A}" type="datetimeFigureOut">
              <a:rPr lang="ru-RU"/>
              <a:pPr>
                <a:defRPr/>
              </a:pPr>
              <a:t>18.01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39775"/>
            <a:ext cx="534670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FAC8B9B-4BEF-46B4-9D72-01CB93C7AE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14706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36563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73125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0968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74783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1356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74166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47" dirty="0"/>
          </a:p>
        </p:txBody>
      </p:sp>
      <p:sp>
        <p:nvSpPr>
          <p:cNvPr id="18413571" name="Номер слайда 3"/>
          <p:cNvSpPr txBox="1">
            <a:spLocks noGrp="1"/>
          </p:cNvSpPr>
          <p:nvPr/>
        </p:nvSpPr>
        <p:spPr bwMode="auto">
          <a:xfrm>
            <a:off x="3849688" y="9377363"/>
            <a:ext cx="2946400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117" tIns="46058" rIns="92117" bIns="46058" anchor="b"/>
          <a:lstStyle/>
          <a:p>
            <a:pPr algn="r"/>
            <a:fld id="{78177A5A-EBC2-4805-8E65-4E7AF8E1D571}" type="slidenum">
              <a:rPr lang="ru-RU" sz="1200">
                <a:solidFill>
                  <a:srgbClr val="000000"/>
                </a:solidFill>
                <a:latin typeface="Calibri" pitchFamily="34" charset="0"/>
              </a:rPr>
              <a:pPr algn="r"/>
              <a:t>1</a:t>
            </a:fld>
            <a:endParaRPr lang="ru-RU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165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2.png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0.png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0.png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0.png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2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0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2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20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2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0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7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0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2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20.png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0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0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2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20.pn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5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6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7.bin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2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9.bin"/><Relationship Id="rId9" Type="http://schemas.openxmlformats.org/officeDocument/2006/relationships/image" Target="../media/image20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0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0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0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1.bin"/></Relationships>
</file>

<file path=ppt/slideLayouts/_rels/slideLayout2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20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5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6.bin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2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20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0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9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0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8.xml"/><Relationship Id="rId10" Type="http://schemas.openxmlformats.org/officeDocument/2006/relationships/image" Target="../media/image12.jpeg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10.png"/><Relationship Id="rId2" Type="http://schemas.openxmlformats.org/officeDocument/2006/relationships/tags" Target="../tags/tag22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19" Type="http://schemas.openxmlformats.org/officeDocument/2006/relationships/image" Target="../media/image11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image" Target="../media/image10.png"/><Relationship Id="rId2" Type="http://schemas.openxmlformats.org/officeDocument/2006/relationships/tags" Target="../tags/tag34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5.emf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6.vml"/><Relationship Id="rId6" Type="http://schemas.openxmlformats.org/officeDocument/2006/relationships/tags" Target="../tags/tag6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63.xml"/><Relationship Id="rId10" Type="http://schemas.openxmlformats.org/officeDocument/2006/relationships/image" Target="../media/image12.jpeg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oleObject" Target="../embeddings/oleObject9.bin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image" Target="../media/image10.png"/><Relationship Id="rId2" Type="http://schemas.openxmlformats.org/officeDocument/2006/relationships/tags" Target="../tags/tag67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7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5.xml"/><Relationship Id="rId19" Type="http://schemas.openxmlformats.org/officeDocument/2006/relationships/image" Target="../media/image11.emf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image" Target="../media/image10.png"/><Relationship Id="rId2" Type="http://schemas.openxmlformats.org/officeDocument/2006/relationships/tags" Target="../tags/tag79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8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CF3603FC-9058-4318-9F6B-D4A964B550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7BE0606-FF04-4A94-B11B-0C1207C1F41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D6A94DD-BE1A-4D4F-8F30-35D484ED9FD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A21EE88-6D18-4A9E-958B-8A63DDA6EEB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4B92F95-F1AE-4E7C-A38A-DB40B7BA41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31E7B36-CA1B-4A88-9582-3BC24DEF15C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774962E-5C3D-4F37-8F0D-2C5A9C075D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9CEAFFD-805B-4F3D-8B76-8DEF75B718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0357CD7-DD2C-4C3D-BF42-3620F4E890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5E81346-21AC-4FB8-93B5-C497A2DCC0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0FF092D-BA7D-466D-8040-59506F057CE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B24ABC9-9FC0-43E9-81B8-E89D58CFA7C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50FCFCD-A6BF-4DE8-AE67-A00C87B797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4E7E613-4C21-4FBD-9176-060E2262A16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CED5265-BE9A-41EC-956B-08FFC089FA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9040296-E012-4501-A6FE-ECDA4AE4EA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AFB2D0-84B7-4C7B-B79E-4A659374F8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8DFAF66-A5EC-4C3A-B2A0-B68FF420F8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984CEF9-B94B-430C-9755-724015DF85C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0B303C8-5A3F-4694-8873-8F6182EE4B1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0CA6FC9-D7BD-47C2-9BC5-96FEA5FCB6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669585F-31B2-491D-84B7-BBB8CF7AC32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7B9F2AE-5278-48B7-8F1A-9C69D9AA70B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566AD8E-EBD5-4AEC-8F6D-7F6A27D309A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42E017B-8B9F-48E6-9B8D-0907F923508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3E95CFE-FC67-4C76-9D51-0440EACD5F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244FD0A-17FC-430A-86EE-0A214D3B3C7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A8BF4B4-C248-4131-9881-1F00BA5F66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019ADDC-10F8-4196-AB57-B3B9E7EAE3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8225" cy="147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2992438" cy="147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655888" cy="147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/>
          <a:srcRect r="82095"/>
          <a:stretch>
            <a:fillRect/>
          </a:stretch>
        </p:blipFill>
        <p:spPr bwMode="auto">
          <a:xfrm>
            <a:off x="6904038" y="1196975"/>
            <a:ext cx="1168400" cy="1243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oup 22"/>
          <p:cNvGrpSpPr>
            <a:grpSpLocks/>
          </p:cNvGrpSpPr>
          <p:nvPr userDrawn="1"/>
        </p:nvGrpSpPr>
        <p:grpSpPr bwMode="auto">
          <a:xfrm>
            <a:off x="0" y="0"/>
            <a:ext cx="9906000" cy="981075"/>
            <a:chOff x="0" y="2505596"/>
            <a:chExt cx="6696744" cy="1707025"/>
          </a:xfrm>
        </p:grpSpPr>
        <p:sp>
          <p:nvSpPr>
            <p:cNvPr id="19" name="Rectangle 23"/>
            <p:cNvSpPr/>
            <p:nvPr userDrawn="1"/>
          </p:nvSpPr>
          <p:spPr>
            <a:xfrm>
              <a:off x="0" y="3635327"/>
              <a:ext cx="6696744" cy="5772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0" name="Rectangle 24"/>
            <p:cNvSpPr/>
            <p:nvPr userDrawn="1"/>
          </p:nvSpPr>
          <p:spPr>
            <a:xfrm>
              <a:off x="0" y="3069080"/>
              <a:ext cx="6696744" cy="5772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1" name="Rectangle 25"/>
            <p:cNvSpPr/>
            <p:nvPr userDrawn="1"/>
          </p:nvSpPr>
          <p:spPr>
            <a:xfrm>
              <a:off x="0" y="2505596"/>
              <a:ext cx="6696744" cy="57729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22" name="Picture 2" descr="kar-word-logo1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981075"/>
            <a:ext cx="3236913" cy="130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0C9ED4D-7780-43BF-A953-32B36960A8A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B7EDF57-DDE2-45DD-89CA-58F8B263CF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38BE5ED-67CA-4909-A47E-1E63E8AA77F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D636E53-227D-410C-9D52-828634496CC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7F8BC8C-EBE5-40E8-95C6-628365BD48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936BE44-4850-4C0F-A605-F88F8F989BC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15F699-AA22-4F29-8C6E-0779AA73C9B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249A170-1882-4909-AE05-1839CE2454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8B1AA8F-40D8-4322-B8D2-D4DDAEFA1E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ADF3B3F-0151-4F68-ACF1-AC48D9120A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2A55AA43-A50A-48B8-A3FD-495D41A8BB7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45EA753-6BA1-430E-AECD-48D4F0B88B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E515587-435A-4E8E-A841-663010191C1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828031-6E31-4E1C-B9F0-7FAA9837914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B00FD1F-47CA-4D52-8647-BD09373058C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B458198-2B90-4C1A-91C7-E33F712F094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3F2B110-10C3-4341-A25B-706C6ACD28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D317292-8C14-48B8-969B-B9C91D4C73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C19C83E-0455-4387-8830-7663EDAA7E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25F9037-10E3-4690-8E2E-510EF22DB13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47001EDF-7A3A-4E2D-B4FB-99A19C8FD1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92340FC-8B10-4533-B8E8-042E815F825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38F18DE-1377-4CD5-8243-A818C193E1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EA8DE1E-4DB7-41F3-BC06-C9AEC50079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0BCBC1A-6CE1-46A0-8E71-DF0CC1918C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B22B80A-3D3F-4702-9DD4-7965EEEBC04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996531A-47B9-4EBB-A606-51036094B7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3C76808-7ED6-459B-9E23-72FD7BB424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06EB1F-2A61-42A8-837A-55D26B4949B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B3506EB-3928-4966-8C62-136BF55272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4C33430-AB87-48C8-A89E-20082025D1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EF9AEBE-9900-47FE-8A1A-489BEFD4CC3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859C4F7-0872-4449-BC87-8B81270BA85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544F1A8A-5FB1-4B17-8867-D6FFAFBFDCF3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EAE15CD-9F96-40CC-93F7-F64EB958B4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44F2F8F-3C5F-476E-A222-FDD26B937A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BEE0B7-00A5-4E0F-A311-D37D768F625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03CABF3-26FC-4D04-9D80-31C5E96E12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100D27E-493C-4275-A91C-26066075E92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27DB796-F7B6-4A09-A0AF-0442BE8E20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20FCB12A-10CC-4B8E-8861-54D93B7C89B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2777907-9F16-46DB-A680-9FFFA15593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FE634B6-7CA1-4B7E-B46E-DEBD450608D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E31D33F-CE06-4CD7-BE29-0BE857EFC71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70A29A-3D36-4DBD-AA58-87F637590E2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6A64761A-00D7-4E28-BEC0-BA299BE0179C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448A0E0-9205-4711-9E02-A628522206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E5B9CEA-D576-45C0-A9D4-7715EC9BDE5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F9BAA00-AC26-4FE6-BA02-740B4BAC5ED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64A7302-3985-4747-8C95-66FE233575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29A3534-1F85-443B-AB45-F1366072A65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C3F3CB0-631E-4025-964B-A7459D4D1E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3FDA223-1543-4B21-B25D-787E52C63F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50D06BA-A255-4FE7-842D-78F41C8F572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C7E31DD-F1CD-4FC8-A35E-E4B4400A29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810B957-F544-414C-9D7D-E8C169D441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85C8C04-54B4-49EB-8F46-F4325C5AC2F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118EC7C6-E965-4448-B84A-E522E5E342F9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2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3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0B6E1284-3C13-494A-9383-C6BB4E9EACD8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DC2C5A2-FB4B-4D83-A08A-C8F8A3D3E50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42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116650CC-9622-4B1F-B54A-44D5F8009B1C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52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60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3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3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08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956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3963"/>
            <a:ext cx="5456237" cy="2174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74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0216" tIns="45108" rIns="90216" bIns="45108" anchor="ctr"/>
          <a:lstStyle/>
          <a:p>
            <a:pPr defTabSz="932962">
              <a:defRPr/>
            </a:pPr>
            <a:endParaRPr lang="ru-RU" sz="1569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/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62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73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F652A1A7-8698-44B6-8717-714F3102138E}" type="slidenum">
              <a:rPr lang="en-US" sz="923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83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96C08EB0-112B-404A-BCE1-6318C33A6423}" type="slidenum">
              <a:rPr lang="ru-RU" sz="1015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15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93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03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4EF543AA-32FC-4589-BA2D-8624C0445FD6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14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924AB0E7-0DF1-4173-823B-A69774A26461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24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7EFD420E-84BE-4ABF-B95F-4B97A74936FD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34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solidFill>
                  <a:srgbClr val="FFFFFF"/>
                </a:solidFill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4CA48D96-3599-4887-AAD0-DFD35C1608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44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D4144142-DDDD-470F-9CE6-2570C8DA8104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55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0CB98A02-1C7A-40AD-B5E9-930513EA3B67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65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75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90203DC4-E8E1-4BB6-A2D1-4975EAABA715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85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7158BE70-2A84-4E63-B804-C5FC4051F50D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96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60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3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3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08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956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3963"/>
            <a:ext cx="5456237" cy="2174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74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0216" tIns="45108" rIns="90216" bIns="45108" anchor="ctr"/>
          <a:lstStyle/>
          <a:p>
            <a:pPr defTabSz="932962">
              <a:defRPr/>
            </a:pPr>
            <a:endParaRPr lang="ru-RU" sz="1569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/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0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16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6BFAD78F-DDBA-41B5-A64B-303AB5D11F43}" type="slidenum">
              <a:rPr lang="en-US" sz="923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45"/>
          <p:cNvSpPr>
            <a:spLocks/>
          </p:cNvSpPr>
          <p:nvPr userDrawn="1"/>
        </p:nvSpPr>
        <p:spPr bwMode="auto">
          <a:xfrm flipV="1">
            <a:off x="592138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8" name="Freeform 146"/>
          <p:cNvSpPr>
            <a:spLocks/>
          </p:cNvSpPr>
          <p:nvPr userDrawn="1"/>
        </p:nvSpPr>
        <p:spPr bwMode="auto">
          <a:xfrm flipV="1">
            <a:off x="592138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9" name="Freeform 145"/>
          <p:cNvSpPr>
            <a:spLocks/>
          </p:cNvSpPr>
          <p:nvPr userDrawn="1"/>
        </p:nvSpPr>
        <p:spPr bwMode="auto">
          <a:xfrm flipV="1">
            <a:off x="5548313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10" name="Freeform 146"/>
          <p:cNvSpPr>
            <a:spLocks/>
          </p:cNvSpPr>
          <p:nvPr userDrawn="1"/>
        </p:nvSpPr>
        <p:spPr bwMode="auto">
          <a:xfrm flipV="1">
            <a:off x="5548313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11" name="Группа 14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12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8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9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0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34" name="Нижний колонтитул 2"/>
          <p:cNvSpPr>
            <a:spLocks noGrp="1"/>
          </p:cNvSpPr>
          <p:nvPr>
            <p:ph type="ftr" sz="quarter" idx="18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" name="Номер слайда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2C75D38-924A-4F9C-A31D-3F1711F7779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26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6B7520DD-216C-49C1-A31D-75696E0AAEE4}" type="slidenum">
              <a:rPr lang="ru-RU" sz="1015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15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37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47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23A8D455-330C-483A-8B93-31C00C9D6F6F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57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65054942-A6D8-443C-A375-FB3A70795965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67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77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88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1930951B-51F1-4A91-888F-78E85FBD4578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98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A9838DB8-6643-4ECA-BB25-B05810F08F0E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08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02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78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565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90195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3273" tIns="46635" rIns="93273" bIns="46635" anchor="ctr"/>
          <a:lstStyle/>
          <a:p>
            <a:pPr defTabSz="932962">
              <a:defRPr/>
            </a:pPr>
            <a:endParaRPr lang="ru-RU" sz="1643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5"/>
          <p:cNvSpPr>
            <a:spLocks/>
          </p:cNvSpPr>
          <p:nvPr userDrawn="1"/>
        </p:nvSpPr>
        <p:spPr bwMode="auto">
          <a:xfrm flipV="1">
            <a:off x="5656263" y="1582738"/>
            <a:ext cx="3662362" cy="338137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6" name="Freeform 146"/>
          <p:cNvSpPr>
            <a:spLocks/>
          </p:cNvSpPr>
          <p:nvPr userDrawn="1"/>
        </p:nvSpPr>
        <p:spPr bwMode="auto">
          <a:xfrm flipV="1">
            <a:off x="5656263" y="5697538"/>
            <a:ext cx="3662362" cy="327025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7" name="Группа 8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8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9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1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2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9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0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8" name="Нижний колонтитул 2"/>
          <p:cNvSpPr>
            <a:spLocks noGrp="1"/>
          </p:cNvSpPr>
          <p:nvPr>
            <p:ph type="ftr" sz="quarter" idx="16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385396A-3379-41C8-ACF5-7B2508878C5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18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71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829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1697A7FF-A72E-40A6-8BA3-41151790810D}" type="slidenum">
              <a:rPr lang="ru-RU" sz="928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28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E4CF28C-65AE-4938-8BF2-5920DEA024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5F1ADB-B1FC-420F-9885-B1CDAC3ACD2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2"/>
            <a:ext cx="8268758" cy="962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07340" y="1125539"/>
            <a:ext cx="9126934" cy="51482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AC43512-52AC-45F4-83FB-ACA53CD9C1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3" y="1"/>
            <a:ext cx="8386607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5229810-9699-4CCE-AA37-A326869A48C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2F835B0-4684-418B-84AB-DF439F973D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19200" y="2224088"/>
            <a:ext cx="7323138" cy="2987675"/>
            <a:chOff x="1900645" y="2454346"/>
            <a:chExt cx="6397771" cy="2627564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21" name="Line 37"/>
              <p:cNvSpPr>
                <a:spLocks noChangeShapeType="1"/>
              </p:cNvSpPr>
              <p:nvPr/>
            </p:nvSpPr>
            <p:spPr bwMode="auto">
              <a:xfrm flipH="1" flipV="1">
                <a:off x="1925609" y="2469704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H="1" flipV="1">
                <a:off x="3592663" y="2454346"/>
                <a:ext cx="814111" cy="79860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>
                <a:off x="1936704" y="5079118"/>
                <a:ext cx="1690632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645365" y="4316817"/>
                <a:ext cx="746152" cy="76509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7" name="Line 37"/>
              <p:cNvSpPr>
                <a:spLocks noChangeShapeType="1"/>
              </p:cNvSpPr>
              <p:nvPr/>
            </p:nvSpPr>
            <p:spPr bwMode="auto">
              <a:xfrm>
                <a:off x="6474642" y="507911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8" name="Line 37"/>
              <p:cNvSpPr>
                <a:spLocks noChangeShapeType="1"/>
              </p:cNvSpPr>
              <p:nvPr/>
            </p:nvSpPr>
            <p:spPr bwMode="auto">
              <a:xfrm>
                <a:off x="5846376" y="4332175"/>
                <a:ext cx="631039" cy="749735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398" y="245713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531" y="2454346"/>
                <a:ext cx="715640" cy="79161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9" name="Группа 26"/>
            <p:cNvGrpSpPr>
              <a:grpSpLocks/>
            </p:cNvGrpSpPr>
            <p:nvPr userDrawn="1"/>
          </p:nvGrpSpPr>
          <p:grpSpPr bwMode="auto"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67699" y="3756958"/>
                <a:ext cx="647683" cy="12566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10" name="Группа 25"/>
            <p:cNvGrpSpPr>
              <a:grpSpLocks/>
            </p:cNvGrpSpPr>
            <p:nvPr userDrawn="1"/>
          </p:nvGrpSpPr>
          <p:grpSpPr bwMode="auto"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 flipV="1">
                <a:off x="6606398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040542" y="3762543"/>
                <a:ext cx="590820" cy="698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3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CC7E7C10-7355-44A3-880C-6E4BB35A94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3" y="1"/>
            <a:ext cx="8386607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264DB-476F-48E8-801D-97AFE45164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3226CE7-0230-499D-A722-61A1924D81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01738" y="2414588"/>
            <a:ext cx="7326312" cy="2665412"/>
            <a:chOff x="1885967" y="2622509"/>
            <a:chExt cx="6399542" cy="2343289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H="1" flipV="1">
                <a:off x="1913700" y="2637861"/>
                <a:ext cx="1691754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H="1" flipV="1">
                <a:off x="3605454" y="2635069"/>
                <a:ext cx="768223" cy="76341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798"/>
                <a:ext cx="169175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80493" y="4203775"/>
                <a:ext cx="761288" cy="76202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>
                <a:off x="6596529" y="4953237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5908734" y="4206566"/>
                <a:ext cx="700275" cy="74667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V="1">
                <a:off x="6593756" y="2625300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V="1">
                <a:off x="5881001" y="2622509"/>
                <a:ext cx="715528" cy="79133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206DEC0-7E7E-4564-9AD1-B98BD796D1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FCAC134A-E0F8-447F-B20F-17174A898CB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2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2D329D9-7FB8-4428-90D8-0B01FF3A132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Нижний колонтитул 2"/>
          <p:cNvSpPr>
            <a:spLocks noGrp="1"/>
          </p:cNvSpPr>
          <p:nvPr>
            <p:ph type="ftr" sz="quarter" idx="29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26F2835E-8773-4586-960A-2F426BBB7F7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3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C1CB9DB2-486F-429A-9954-4F59EA252D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040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7825" y="349250"/>
            <a:ext cx="101123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lnSpc>
                <a:spcPct val="120000"/>
              </a:lnSpc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7825" y="508000"/>
            <a:ext cx="290988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7825" y="668338"/>
            <a:ext cx="2517775" cy="1698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8775" y="300038"/>
            <a:ext cx="185102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F682991-A039-48C7-B901-9DABCD716F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143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26D69ECD-0B4E-4B02-BA5A-E176E0EF108A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3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143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3478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5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8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FE43F687-14E6-4E09-9287-A79724AE42E7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ja-JP" altLang="ja-JP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450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7825" y="349250"/>
            <a:ext cx="101123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lnSpc>
                <a:spcPct val="120000"/>
              </a:lnSpc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7825" y="508000"/>
            <a:ext cx="290988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7825" y="668338"/>
            <a:ext cx="2517775" cy="1698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8775" y="300038"/>
            <a:ext cx="185102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553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36ECFC6F-1898-4F73-A359-09AB248272D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3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553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9757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5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8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8C8076F8-C1CD-47B2-8641-4C9ABDEEC08E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ja-JP" altLang="ja-JP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236D9EE-F131-407A-A4DA-39D5FB640F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5B35509-1A5E-483E-8CFA-E4AB6FAF01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DCE2417C-8132-42A3-9574-A8B9F7F145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2A4AA0C-2F3F-4612-B81C-D90C32461DC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1D0BFD-4EF1-4D70-AE9C-BE2238C4B84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A9DE45A-F52E-4C26-B47F-64DE61E612B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B4C2B12-ABF6-46D1-8F49-38BEEE778F7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3EF7580-B10A-44A4-BAC7-58E7C3FBD5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3049F93-B293-4C2A-81BC-2819486BBB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9D7D52-1FDC-41FA-9109-9AD70E3742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49BAD5A-D566-4093-B2BF-42ECFE872C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1ECE254-EE43-481B-B17E-1D92BC4B20F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6491258-238A-4613-B4F2-C9C0AE37AD4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24FBA61-D668-492F-A816-4F9D96ACFD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A46C275-6050-450A-9309-41608BCB37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E95701C-E9FF-4F2E-9604-A377C566A9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7E11EDC-D392-4D14-BBB4-E54983A8426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103B3CC-7B14-4F3B-8CD4-1DBD3326A2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C0E750-FD37-46C1-A111-6718BA4333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54A74A-F98E-4118-BD99-D2E35EDBBE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92243E1-F6A0-4EF9-962C-5D33811308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FD676C5-AE19-4851-961A-8D6F19175FE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C5324A9-1876-4CFD-9E1B-5133230A2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ADD9EC-83EF-4E26-970D-DE963D7F87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A448205-66D0-43C1-8ACE-595BA106C5A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921892F-3870-4EC2-9EE9-4A63DC10C68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0E5015-A9DC-4235-9AFB-6246E7B6582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7F920FA-E20A-427D-BB05-3AD9C7FEC4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F8E62B-A08E-420C-B1E7-81D6B40F70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7CF91EA-80CE-4A0F-A90C-5DFF4CC22F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AFFD237-7506-42A0-A21C-01631BDC34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04ACCA8-A65A-4E63-9F97-BC9581673B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C2E8F4E-989D-4FE9-B928-F74ACCF525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F46DB75-785B-4A75-9093-0E8F5793F5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65B4CB6-66B1-406F-97C0-782BD70D2D7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740155A-6462-4F03-A2DD-1DBCB386820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44F46A8-3069-4F3F-9409-4A8C3550AE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A4FBE01-1342-4FA9-89F4-504033B84D9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57CE28E-0057-4B98-85FC-C5E7EBE153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725F770-5681-46C8-850A-FEEB6754DD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FFD1AB3-05CC-467F-B25C-3521DECD808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CFAC342-39B8-4C2E-8B77-C78E2D28B28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072B8B3-8FCC-4E89-9EBB-8251354D8C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BF97C79-213E-4E68-8C1E-B7263ED4346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4CAA5B1-0386-4056-9553-0E0EA0AF56B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A76B257-DC6F-45F6-8CC5-10D0358FD40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502B66A-60FD-4491-8B65-40E43C36D9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CDC79E9-F1FF-490F-8059-3FEA9202EF7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92F142D-3309-4FD8-BE22-2EC849D51F0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D9FBA03-A716-4691-BC51-B7EECB70D8B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34228B-1E67-4A5A-BE1D-F56B772D186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1AB6282-4832-4CCB-B348-D7B24FE241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22988E3-DE88-472E-A6A8-AFA76C8C60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FC0D713E-8882-480B-BD4C-F7F0B78636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BD68341-EBE3-4BA8-A1B9-9984C572C9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D4A6CC2-D04D-4560-BE35-5FDAB5D05B6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11431A1-0D7C-4814-BBCC-58EE027BDC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697A5A9-A372-4E67-BDA5-BD808C295BF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5855EBF-64AD-447D-AB29-9CEE3CD55C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A60F2B0-3EE3-4E3A-BE52-06D1FA07EAE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796C63C-EEDE-4EC9-A902-12C126F0011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E0ABE85-E5C9-47E2-80BA-028FF1B360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EEE87A3-FFA6-488F-AE81-072D02B773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15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15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16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image" Target="../media/image16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image" Target="../media/image16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2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image" Target="../media/image15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0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64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67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image" Target="../media/image15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6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image" Target="../media/image1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89.xml"/><Relationship Id="rId7" Type="http://schemas.openxmlformats.org/officeDocument/2006/relationships/tags" Target="../tags/tag91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20.png"/><Relationship Id="rId5" Type="http://schemas.openxmlformats.org/officeDocument/2006/relationships/theme" Target="../theme/theme18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0.xml"/><Relationship Id="rId9" Type="http://schemas.openxmlformats.org/officeDocument/2006/relationships/image" Target="../media/image9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193.xml"/><Relationship Id="rId7" Type="http://schemas.openxmlformats.org/officeDocument/2006/relationships/tags" Target="../tags/tag95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20.png"/><Relationship Id="rId5" Type="http://schemas.openxmlformats.org/officeDocument/2006/relationships/theme" Target="../theme/theme19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4.xml"/><Relationship Id="rId9" Type="http://schemas.openxmlformats.org/officeDocument/2006/relationships/image" Target="../media/image9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2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197.xml"/><Relationship Id="rId7" Type="http://schemas.openxmlformats.org/officeDocument/2006/relationships/tags" Target="../tags/tag100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20.png"/><Relationship Id="rId5" Type="http://schemas.openxmlformats.org/officeDocument/2006/relationships/theme" Target="../theme/theme2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8.xml"/><Relationship Id="rId9" Type="http://schemas.openxmlformats.org/officeDocument/2006/relationships/image" Target="../media/image9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201.xml"/><Relationship Id="rId7" Type="http://schemas.openxmlformats.org/officeDocument/2006/relationships/tags" Target="../tags/tag105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vmlDrawing" Target="../drawings/vmlDrawing23.vml"/><Relationship Id="rId11" Type="http://schemas.openxmlformats.org/officeDocument/2006/relationships/image" Target="../media/image20.png"/><Relationship Id="rId5" Type="http://schemas.openxmlformats.org/officeDocument/2006/relationships/theme" Target="../theme/theme2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02.xml"/><Relationship Id="rId9" Type="http://schemas.openxmlformats.org/officeDocument/2006/relationships/image" Target="../media/image9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slideLayout" Target="../slideLayouts/slideLayout205.xml"/><Relationship Id="rId7" Type="http://schemas.openxmlformats.org/officeDocument/2006/relationships/tags" Target="../tags/tag10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vmlDrawing" Target="../drawings/vmlDrawing27.vml"/><Relationship Id="rId11" Type="http://schemas.openxmlformats.org/officeDocument/2006/relationships/image" Target="../media/image20.png"/><Relationship Id="rId5" Type="http://schemas.openxmlformats.org/officeDocument/2006/relationships/theme" Target="../theme/theme2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06.xml"/><Relationship Id="rId9" Type="http://schemas.openxmlformats.org/officeDocument/2006/relationships/image" Target="../media/image9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slideLayout" Target="../slideLayouts/slideLayout209.xml"/><Relationship Id="rId7" Type="http://schemas.openxmlformats.org/officeDocument/2006/relationships/tags" Target="../tags/tag113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vmlDrawing" Target="../drawings/vmlDrawing31.vml"/><Relationship Id="rId11" Type="http://schemas.openxmlformats.org/officeDocument/2006/relationships/image" Target="../media/image20.png"/><Relationship Id="rId5" Type="http://schemas.openxmlformats.org/officeDocument/2006/relationships/theme" Target="../theme/theme23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0.xml"/><Relationship Id="rId9" Type="http://schemas.openxmlformats.org/officeDocument/2006/relationships/image" Target="../media/image9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slideLayout" Target="../slideLayouts/slideLayout213.xml"/><Relationship Id="rId7" Type="http://schemas.openxmlformats.org/officeDocument/2006/relationships/tags" Target="../tags/tag118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vmlDrawing" Target="../drawings/vmlDrawing36.vml"/><Relationship Id="rId11" Type="http://schemas.openxmlformats.org/officeDocument/2006/relationships/image" Target="../media/image20.png"/><Relationship Id="rId5" Type="http://schemas.openxmlformats.org/officeDocument/2006/relationships/theme" Target="../theme/theme2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4.xml"/><Relationship Id="rId9" Type="http://schemas.openxmlformats.org/officeDocument/2006/relationships/image" Target="../media/image9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slideLayout" Target="../slideLayouts/slideLayout217.xml"/><Relationship Id="rId7" Type="http://schemas.openxmlformats.org/officeDocument/2006/relationships/tags" Target="../tags/tag122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vmlDrawing" Target="../drawings/vmlDrawing40.vml"/><Relationship Id="rId11" Type="http://schemas.openxmlformats.org/officeDocument/2006/relationships/image" Target="../media/image20.png"/><Relationship Id="rId5" Type="http://schemas.openxmlformats.org/officeDocument/2006/relationships/theme" Target="../theme/theme25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8.xml"/><Relationship Id="rId9" Type="http://schemas.openxmlformats.org/officeDocument/2006/relationships/image" Target="../media/image9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221.xml"/><Relationship Id="rId7" Type="http://schemas.openxmlformats.org/officeDocument/2006/relationships/oleObject" Target="../embeddings/oleObject47.bin"/><Relationship Id="rId2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19.xml"/><Relationship Id="rId6" Type="http://schemas.openxmlformats.org/officeDocument/2006/relationships/tags" Target="../tags/tag127.xml"/><Relationship Id="rId5" Type="http://schemas.openxmlformats.org/officeDocument/2006/relationships/vmlDrawing" Target="../drawings/vmlDrawing45.vml"/><Relationship Id="rId10" Type="http://schemas.openxmlformats.org/officeDocument/2006/relationships/image" Target="../media/image20.png"/><Relationship Id="rId4" Type="http://schemas.openxmlformats.org/officeDocument/2006/relationships/theme" Target="../theme/theme26.xml"/><Relationship Id="rId9" Type="http://schemas.openxmlformats.org/officeDocument/2006/relationships/image" Target="../media/image16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24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image" Target="../media/image15.jpeg"/><Relationship Id="rId5" Type="http://schemas.openxmlformats.org/officeDocument/2006/relationships/theme" Target="../theme/theme27.xml"/><Relationship Id="rId4" Type="http://schemas.openxmlformats.org/officeDocument/2006/relationships/slideLayout" Target="../slideLayouts/slideLayout225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8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24.png"/><Relationship Id="rId5" Type="http://schemas.openxmlformats.org/officeDocument/2006/relationships/image" Target="../media/image15.jpeg"/><Relationship Id="rId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30.xml"/><Relationship Id="rId1" Type="http://schemas.openxmlformats.org/officeDocument/2006/relationships/slideLayout" Target="../slideLayouts/slideLayout229.xml"/><Relationship Id="rId6" Type="http://schemas.openxmlformats.org/officeDocument/2006/relationships/image" Target="../media/image24.png"/><Relationship Id="rId5" Type="http://schemas.openxmlformats.org/officeDocument/2006/relationships/image" Target="../media/image15.jpeg"/><Relationship Id="rId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image" Target="../media/image10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35.xml"/><Relationship Id="rId21" Type="http://schemas.openxmlformats.org/officeDocument/2006/relationships/oleObject" Target="../embeddings/oleObject6.bin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5.vml"/><Relationship Id="rId11" Type="http://schemas.openxmlformats.org/officeDocument/2006/relationships/tags" Target="../tags/tag50.xml"/><Relationship Id="rId5" Type="http://schemas.openxmlformats.org/officeDocument/2006/relationships/theme" Target="../theme/theme4.xml"/><Relationship Id="rId15" Type="http://schemas.openxmlformats.org/officeDocument/2006/relationships/tags" Target="../tags/tag54.xml"/><Relationship Id="rId23" Type="http://schemas.openxmlformats.org/officeDocument/2006/relationships/image" Target="../media/image10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15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</p:sldLayoutIdLst>
  <p:hf hdr="0" ftr="0" dt="0"/>
  <p:txStyles>
    <p:titleStyle>
      <a:lvl1pPr algn="ctr" defTabSz="869950" rtl="0" eaLnBrk="0" fontAlgn="base" hangingPunct="0">
        <a:spcBef>
          <a:spcPct val="0"/>
        </a:spcBef>
        <a:spcAft>
          <a:spcPct val="0"/>
        </a:spcAft>
        <a:defRPr sz="4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2pPr>
      <a:lvl3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3pPr>
      <a:lvl4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4pPr>
      <a:lvl5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5pPr>
      <a:lvl6pPr marL="4572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6pPr>
      <a:lvl7pPr marL="9144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7pPr>
      <a:lvl8pPr marL="13716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8pPr>
      <a:lvl9pPr marL="18288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9pPr>
    </p:titleStyle>
    <p:bodyStyle>
      <a:lvl1pPr marL="325438" indent="-32543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06438" indent="-271463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438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8975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83F54755-D68D-405F-A4F7-D0E23D05DE1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005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005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00581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405" r:id="rId2"/>
    <p:sldLayoutId id="2147484406" r:id="rId3"/>
    <p:sldLayoutId id="2147484407" r:id="rId4"/>
    <p:sldLayoutId id="2147484408" r:id="rId5"/>
    <p:sldLayoutId id="2147484409" r:id="rId6"/>
    <p:sldLayoutId id="2147484410" r:id="rId7"/>
    <p:sldLayoutId id="2147484411" r:id="rId8"/>
    <p:sldLayoutId id="2147484412" r:id="rId9"/>
    <p:sldLayoutId id="2147484413" r:id="rId10"/>
    <p:sldLayoutId id="2147484414" r:id="rId11"/>
    <p:sldLayoutId id="214748441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2BF05642-F6D3-4EA7-BD29-CFDA4A423E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138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1389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13893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57288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58938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6925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640D4C9-A3D2-4C63-869A-1C3281B1F6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272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2720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27205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2" r:id="rId5"/>
    <p:sldLayoutId id="2147484433" r:id="rId6"/>
    <p:sldLayoutId id="2147484434" r:id="rId7"/>
    <p:sldLayoutId id="2147484435" r:id="rId8"/>
    <p:sldLayoutId id="2147484436" r:id="rId9"/>
    <p:sldLayoutId id="2147484437" r:id="rId10"/>
    <p:sldLayoutId id="214748443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CF0572F8-0C2C-41B8-A05E-D8A9331F25C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394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3949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39493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06A2D780-764E-4114-A487-8DD84EF4E2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51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51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51781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2EE0016D-EC82-4A69-9F83-D4AE89049C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640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640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64069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  <p:sldLayoutId id="2147484471" r:id="rId11"/>
    <p:sldLayoutId id="214748447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D71A6A2-47AE-4F90-B68B-C138239C974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2773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2773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277381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  <p:sldLayoutId id="2147484480" r:id="rId8"/>
    <p:sldLayoutId id="2147484481" r:id="rId9"/>
    <p:sldLayoutId id="2147484482" r:id="rId10"/>
    <p:sldLayoutId id="2147484483" r:id="rId11"/>
    <p:sldLayoutId id="214748448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0FB134E4-DCC7-4F6B-8256-01FD4666D57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3572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3572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357253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6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12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123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1236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124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1239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40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308" r:id="rId2"/>
    <p:sldLayoutId id="2147484498" r:id="rId3"/>
    <p:sldLayoutId id="214748449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74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327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327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9250"/>
            <a:ext cx="73850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3284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5328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3287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88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0" r:id="rId1"/>
    <p:sldLayoutId id="2147484501" r:id="rId2"/>
    <p:sldLayoutId id="2147484502" r:id="rId3"/>
    <p:sldLayoutId id="214748450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2pPr>
      <a:lvl3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3pPr>
      <a:lvl4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4pPr>
      <a:lvl5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50850" indent="-257175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604838" indent="-1524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38188" indent="-1270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2"/>
          <p:cNvGrpSpPr>
            <a:grpSpLocks/>
          </p:cNvGrpSpPr>
          <p:nvPr userDrawn="1"/>
        </p:nvGrpSpPr>
        <p:grpSpPr bwMode="auto">
          <a:xfrm>
            <a:off x="0" y="7938"/>
            <a:ext cx="8229600" cy="981075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5325"/>
              <a:ext cx="6696744" cy="5772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9080"/>
              <a:ext cx="6696744" cy="5772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729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6225" y="6381750"/>
            <a:ext cx="67786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00" b="1">
                <a:solidFill>
                  <a:srgbClr val="0D6186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fld id="{5CBC7B42-201F-433B-8E8C-36CF9309DB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825" y="0"/>
            <a:ext cx="1609725" cy="1104900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07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6862763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3079" name="navigation8" descr="ujkm,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916988" y="188913"/>
            <a:ext cx="873125" cy="71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0" name="Рисунок 46"/>
          <p:cNvPicPr>
            <a:picLocks noChangeAspect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916863" y="204788"/>
            <a:ext cx="942975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  <p:sldLayoutId id="2147484324" r:id="rId13"/>
    <p:sldLayoutId id="2147484325" r:id="rId14"/>
    <p:sldLayoutId id="2147484326" r:id="rId15"/>
    <p:sldLayoutId id="2147484327" r:id="rId16"/>
    <p:sldLayoutId id="2147484328" r:id="rId17"/>
    <p:sldLayoutId id="2147484329" r:id="rId18"/>
    <p:sldLayoutId id="2147484330" r:id="rId19"/>
    <p:sldLayoutId id="2147484331" r:id="rId20"/>
    <p:sldLayoutId id="2147484332" r:id="rId21"/>
    <p:sldLayoutId id="2147484333" r:id="rId22"/>
    <p:sldLayoutId id="2147484334" r:id="rId23"/>
    <p:sldLayoutId id="2147484335" r:id="rId24"/>
    <p:sldLayoutId id="2147484336" r:id="rId25"/>
    <p:sldLayoutId id="2147484337" r:id="rId26"/>
    <p:sldLayoutId id="2147484338" r:id="rId27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7325" indent="-1873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700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4650" indent="-18415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400">
          <a:solidFill>
            <a:schemeClr val="tx1"/>
          </a:solidFill>
          <a:latin typeface="Microsoft Sans Serif"/>
          <a:cs typeface="Microsoft Sans Serif"/>
        </a:defRPr>
      </a:lvl2pPr>
      <a:lvl3pPr marL="1211263" indent="-27940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00">
          <a:solidFill>
            <a:schemeClr val="tx1"/>
          </a:solidFill>
          <a:latin typeface="+mn-lt"/>
          <a:cs typeface="Microsoft Sans Serif" pitchFamily="34" charset="0"/>
        </a:defRPr>
      </a:lvl3pPr>
      <a:lvl4pPr marL="1736725" indent="-2381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Microsoft Sans Serif" pitchFamily="34" charset="0"/>
        </a:defRPr>
      </a:lvl4pPr>
      <a:lvl5pPr marL="2162175" indent="-2381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Microsoft Sans Serif" pitchFamily="34" charset="0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322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53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53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5332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5337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5335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36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70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737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737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7380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57385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7383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84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309" r:id="rId2"/>
    <p:sldLayoutId id="2147484509" r:id="rId3"/>
    <p:sldLayoutId id="214748451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418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942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942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9428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59433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9431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32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1" r:id="rId1"/>
    <p:sldLayoutId id="2147484310" r:id="rId2"/>
    <p:sldLayoutId id="2147484512" r:id="rId3"/>
    <p:sldLayoutId id="214748451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6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47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147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9250"/>
            <a:ext cx="73850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1476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6148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1479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80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2pPr>
      <a:lvl3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3pPr>
      <a:lvl4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4pPr>
      <a:lvl5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50850" indent="-257175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604838" indent="-1524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38188" indent="-1270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514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351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35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3524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635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3527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528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311" r:id="rId2"/>
    <p:sldLayoutId id="2147484519" r:id="rId3"/>
    <p:sldLayoutId id="214748452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562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556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556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5572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65577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5575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76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1" r:id="rId1"/>
    <p:sldLayoutId id="2147484522" r:id="rId2"/>
    <p:sldLayoutId id="2147484523" r:id="rId3"/>
    <p:sldLayoutId id="214748452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610" name="Object 26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761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761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7620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67625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7623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624" name="Picture 4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9CB3A825-3521-4DD8-B3E3-B79D7EE15B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8371587" name="navigation8" descr="ujkm,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8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8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544F23B3-BAAD-4369-9198-B3F1042F3D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8376707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3C6397DC-4967-4C99-889A-BFE66638DB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8380803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875" name="Object 915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0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41879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41880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39700" y="306388"/>
            <a:ext cx="860742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4188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4189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41888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034FFA5E-CAF8-47B4-B044-340AF9B1CD96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970" name="Object 914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75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45974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45975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39700" y="306388"/>
            <a:ext cx="860742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45980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4598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45983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A3D90303-A467-4AE6-A6EC-2CC6062E280F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5D643466-3FED-4242-BE91-5F8F66B998A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1370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13709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137093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  <p:sldLayoutId id="2147484349" r:id="rId3"/>
    <p:sldLayoutId id="2147484350" r:id="rId4"/>
    <p:sldLayoutId id="2147484351" r:id="rId5"/>
    <p:sldLayoutId id="2147484352" r:id="rId6"/>
    <p:sldLayoutId id="2147484353" r:id="rId7"/>
    <p:sldLayoutId id="2147484354" r:id="rId8"/>
    <p:sldLayoutId id="2147484355" r:id="rId9"/>
    <p:sldLayoutId id="2147484356" r:id="rId10"/>
    <p:sldLayoutId id="2147484357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DD7980EC-7DFB-494A-B2FE-E7E5D0F874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1493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1493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149381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4DB51A58-0E77-4D0C-AA56-BC2E20C185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1616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1616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161669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370" r:id="rId2"/>
    <p:sldLayoutId id="2147484371" r:id="rId3"/>
    <p:sldLayoutId id="2147484372" r:id="rId4"/>
    <p:sldLayoutId id="2147484373" r:id="rId5"/>
    <p:sldLayoutId id="2147484374" r:id="rId6"/>
    <p:sldLayoutId id="2147484375" r:id="rId7"/>
    <p:sldLayoutId id="2147484376" r:id="rId8"/>
    <p:sldLayoutId id="2147484377" r:id="rId9"/>
    <p:sldLayoutId id="2147484378" r:id="rId10"/>
    <p:sldLayoutId id="214748437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492BBCF0-9C2F-4651-A50F-93686A390A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1739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1739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173957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  <p:sldLayoutId id="2147484384" r:id="rId5"/>
    <p:sldLayoutId id="2147484385" r:id="rId6"/>
    <p:sldLayoutId id="2147484386" r:id="rId7"/>
    <p:sldLayoutId id="2147484387" r:id="rId8"/>
    <p:sldLayoutId id="2147484388" r:id="rId9"/>
    <p:sldLayoutId id="2147484389" r:id="rId10"/>
    <p:sldLayoutId id="2147484390" r:id="rId11"/>
    <p:sldLayoutId id="214748439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CA5C5F53-B431-41A6-A422-299A31B945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8187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818726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8187269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5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37953" name="Заголовок 3"/>
          <p:cNvSpPr>
            <a:spLocks noGrp="1"/>
          </p:cNvSpPr>
          <p:nvPr>
            <p:ph type="title" idx="4294967295"/>
          </p:nvPr>
        </p:nvSpPr>
        <p:spPr bwMode="auto">
          <a:xfrm>
            <a:off x="0" y="115888"/>
            <a:ext cx="8193088" cy="95565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91392" tIns="45695" rIns="91392" bIns="45695" anchor="ctr"/>
          <a:lstStyle/>
          <a:p>
            <a:pPr algn="ctr" defTabSz="894878" eaLnBrk="1" hangingPunct="1">
              <a:tabLst>
                <a:tab pos="357000" algn="l"/>
              </a:tabLst>
              <a:defRPr/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ПСР-проект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лицея №18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Повышение эффективности работы по ведению журналов   и дневников учащихся образовательной организации – внедрение электронных журналов и  электронных дневников»</a:t>
            </a:r>
            <a:br>
              <a:rPr lang="ru-RU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»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8412546" name="Picture 2" descr="Coat of arms of Oryol Oblast (large).sv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77188" y="100013"/>
            <a:ext cx="6365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12548" name="Номер слайда 2"/>
          <p:cNvSpPr txBox="1">
            <a:spLocks noGrp="1"/>
          </p:cNvSpPr>
          <p:nvPr/>
        </p:nvSpPr>
        <p:spPr bwMode="auto">
          <a:xfrm>
            <a:off x="9009063" y="6524625"/>
            <a:ext cx="6826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4256" tIns="37129" rIns="74256" bIns="37129" anchor="ctr"/>
          <a:lstStyle/>
          <a:p>
            <a:pPr algn="ctr"/>
            <a:endParaRPr lang="ru-RU" sz="2100" b="1" dirty="0">
              <a:solidFill>
                <a:srgbClr val="003274"/>
              </a:solidFill>
            </a:endParaRPr>
          </a:p>
        </p:txBody>
      </p:sp>
      <p:sp>
        <p:nvSpPr>
          <p:cNvPr id="26" name="Овал 23"/>
          <p:cNvSpPr>
            <a:spLocks noChangeArrowheads="1"/>
          </p:cNvSpPr>
          <p:nvPr/>
        </p:nvSpPr>
        <p:spPr bwMode="auto">
          <a:xfrm>
            <a:off x="2792413" y="6453188"/>
            <a:ext cx="288925" cy="288925"/>
          </a:xfrm>
          <a:prstGeom prst="ellipse">
            <a:avLst/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27" name="Овал 24"/>
          <p:cNvSpPr>
            <a:spLocks noChangeArrowheads="1"/>
          </p:cNvSpPr>
          <p:nvPr/>
        </p:nvSpPr>
        <p:spPr bwMode="auto">
          <a:xfrm>
            <a:off x="4448175" y="6453188"/>
            <a:ext cx="288925" cy="288925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28" name="Овал 26"/>
          <p:cNvSpPr>
            <a:spLocks noChangeArrowheads="1"/>
          </p:cNvSpPr>
          <p:nvPr/>
        </p:nvSpPr>
        <p:spPr bwMode="auto">
          <a:xfrm>
            <a:off x="7258050" y="6453188"/>
            <a:ext cx="287338" cy="288925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29" name="Объект 2"/>
          <p:cNvSpPr txBox="1">
            <a:spLocks/>
          </p:cNvSpPr>
          <p:nvPr/>
        </p:nvSpPr>
        <p:spPr>
          <a:xfrm>
            <a:off x="1065213" y="6453188"/>
            <a:ext cx="7951787" cy="2714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Срок не </a:t>
            </a:r>
            <a:r>
              <a:rPr lang="ru-RU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подошел   </a:t>
            </a:r>
            <a:r>
              <a:rPr lang="en-US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 </a:t>
            </a:r>
            <a:r>
              <a:rPr lang="ru-RU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   Выполнено      </a:t>
            </a:r>
            <a:r>
              <a:rPr lang="en-US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    </a:t>
            </a:r>
            <a:r>
              <a:rPr lang="ru-RU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</a:t>
            </a: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Незначительный </a:t>
            </a:r>
            <a:r>
              <a:rPr lang="ru-RU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срыв      </a:t>
            </a:r>
            <a:r>
              <a:rPr lang="en-US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 </a:t>
            </a:r>
            <a:r>
              <a:rPr lang="ru-RU" sz="1600" kern="0" smtClean="0">
                <a:solidFill>
                  <a:srgbClr val="002060"/>
                </a:solidFill>
                <a:ea typeface="Fira Sans" panose="020B0603050000020004" pitchFamily="34" charset="0"/>
              </a:rPr>
              <a:t>  </a:t>
            </a:r>
            <a:r>
              <a:rPr lang="ru-RU" sz="1600" kern="0" dirty="0" err="1" smtClean="0">
                <a:solidFill>
                  <a:srgbClr val="002060"/>
                </a:solidFill>
                <a:ea typeface="Fira Sans" panose="020B0603050000020004" pitchFamily="34" charset="0"/>
              </a:rPr>
              <a:t>Срыв</a:t>
            </a: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сроков </a:t>
            </a:r>
          </a:p>
        </p:txBody>
      </p:sp>
      <p:sp>
        <p:nvSpPr>
          <p:cNvPr id="30" name="Овал 13"/>
          <p:cNvSpPr>
            <a:spLocks noChangeArrowheads="1"/>
          </p:cNvSpPr>
          <p:nvPr/>
        </p:nvSpPr>
        <p:spPr bwMode="auto">
          <a:xfrm>
            <a:off x="704850" y="6453188"/>
            <a:ext cx="288925" cy="2889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166653" y="1142983"/>
          <a:ext cx="9572694" cy="4808882"/>
        </p:xfrm>
        <a:graphic>
          <a:graphicData uri="http://schemas.openxmlformats.org/drawingml/2006/table">
            <a:tbl>
              <a:tblPr/>
              <a:tblGrid>
                <a:gridCol w="571505"/>
                <a:gridCol w="5929354"/>
                <a:gridCol w="1000132"/>
                <a:gridCol w="604505"/>
                <a:gridCol w="1467198"/>
              </a:tblGrid>
              <a:tr h="16919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№ </a:t>
                      </a:r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/</a:t>
                      </a:r>
                      <a:r>
                        <a:rPr lang="ru-RU" sz="1400" b="1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лючевые вех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ок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тату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орректирующие мероприят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21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азработка локальных документов, регламентирующих внедрение и использование электронных дневников учащихся и электронного журнала успеваемости в ИСОУ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0.04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9218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знакомление с возможностями информационной системы электронного дневника и электронного журнала успеваемости, локальными актами по ее использованию: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едагогические работник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0.03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одители (законные представители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1.05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чащиеся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1.05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106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ием и регистрация заявлений родителей (законных представителей) о предоставлении информации о текущей успеваемости через информационную систему электронного дневника и электронного журнала успеваем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до 26.08.20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37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Заполнение необходимых баз данных информационной системы электронного дневника и электронного журнала успеваем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 10.03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2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9218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бучение навыкам работы в информационной системе электронного дневника и электронного журнала успеваемости, оказание консультативной технической и методической помощ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едагогические работник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0.03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одители (законные представители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1.05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чащиеся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31.05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32" name="Овал 31"/>
          <p:cNvSpPr>
            <a:spLocks noChangeArrowheads="1"/>
          </p:cNvSpPr>
          <p:nvPr/>
        </p:nvSpPr>
        <p:spPr bwMode="auto">
          <a:xfrm>
            <a:off x="7881958" y="1643050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3" name="Овал 32"/>
          <p:cNvSpPr>
            <a:spLocks noChangeArrowheads="1"/>
          </p:cNvSpPr>
          <p:nvPr/>
        </p:nvSpPr>
        <p:spPr bwMode="auto">
          <a:xfrm>
            <a:off x="7905328" y="5229200"/>
            <a:ext cx="193547" cy="209754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5" name="Овал 34"/>
          <p:cNvSpPr>
            <a:spLocks noChangeArrowheads="1"/>
          </p:cNvSpPr>
          <p:nvPr/>
        </p:nvSpPr>
        <p:spPr bwMode="auto">
          <a:xfrm>
            <a:off x="7881958" y="4214818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8" name="Овал 37"/>
          <p:cNvSpPr>
            <a:spLocks noChangeArrowheads="1"/>
          </p:cNvSpPr>
          <p:nvPr/>
        </p:nvSpPr>
        <p:spPr bwMode="auto">
          <a:xfrm>
            <a:off x="7905328" y="3212976"/>
            <a:ext cx="216917" cy="216023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16" name="Овал 15"/>
          <p:cNvSpPr>
            <a:spLocks noChangeArrowheads="1"/>
          </p:cNvSpPr>
          <p:nvPr/>
        </p:nvSpPr>
        <p:spPr bwMode="auto">
          <a:xfrm>
            <a:off x="7905328" y="2924944"/>
            <a:ext cx="216917" cy="216023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17" name="Овал 16"/>
          <p:cNvSpPr>
            <a:spLocks noChangeArrowheads="1"/>
          </p:cNvSpPr>
          <p:nvPr/>
        </p:nvSpPr>
        <p:spPr bwMode="auto">
          <a:xfrm>
            <a:off x="7905328" y="3645024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18" name="Овал 17"/>
          <p:cNvSpPr>
            <a:spLocks noChangeArrowheads="1"/>
          </p:cNvSpPr>
          <p:nvPr/>
        </p:nvSpPr>
        <p:spPr bwMode="auto">
          <a:xfrm>
            <a:off x="7905328" y="5517232"/>
            <a:ext cx="193547" cy="209754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19" name="Овал 18"/>
          <p:cNvSpPr>
            <a:spLocks noChangeArrowheads="1"/>
          </p:cNvSpPr>
          <p:nvPr/>
        </p:nvSpPr>
        <p:spPr bwMode="auto">
          <a:xfrm>
            <a:off x="7905328" y="2708920"/>
            <a:ext cx="193547" cy="209754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20" name="Овал 19"/>
          <p:cNvSpPr>
            <a:spLocks noChangeArrowheads="1"/>
          </p:cNvSpPr>
          <p:nvPr/>
        </p:nvSpPr>
        <p:spPr bwMode="auto">
          <a:xfrm>
            <a:off x="7905328" y="5733256"/>
            <a:ext cx="193547" cy="209754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9009063" y="6453188"/>
            <a:ext cx="781050" cy="365125"/>
          </a:xfrm>
          <a:prstGeom prst="rect">
            <a:avLst/>
          </a:prstGeom>
          <a:noFill/>
        </p:spPr>
        <p:txBody>
          <a:bodyPr lIns="68544" tIns="34273" rIns="68544" bIns="34273" anchor="ctr"/>
          <a:lstStyle/>
          <a:p>
            <a:pPr algn="r" defTabSz="957318" fontAlgn="auto">
              <a:spcBef>
                <a:spcPts val="0"/>
              </a:spcBef>
              <a:spcAft>
                <a:spcPts val="0"/>
              </a:spcAft>
              <a:defRPr/>
            </a:pPr>
            <a:fld id="{0F2056C3-6A94-459F-8F4F-12E4E8E9776F}" type="slidenum">
              <a:rPr lang="ru-RU" sz="1300">
                <a:solidFill>
                  <a:srgbClr val="414142"/>
                </a:solidFill>
                <a:latin typeface="+mn-lt"/>
                <a:cs typeface="+mn-cs"/>
              </a:rPr>
              <a:pPr algn="r" defTabSz="957318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ru-RU" sz="130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18416735" name="Прямоугольник 5"/>
          <p:cNvSpPr>
            <a:spLocks noChangeArrowheads="1"/>
          </p:cNvSpPr>
          <p:nvPr/>
        </p:nvSpPr>
        <p:spPr bwMode="auto">
          <a:xfrm>
            <a:off x="361950" y="6432550"/>
            <a:ext cx="91995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2" tIns="45695" rIns="91392" bIns="45695">
            <a:spAutoFit/>
          </a:bodyPr>
          <a:lstStyle/>
          <a:p>
            <a:pPr defTabSz="955675"/>
            <a:r>
              <a:rPr lang="ru-RU" sz="1600" dirty="0">
                <a:solidFill>
                  <a:srgbClr val="414142"/>
                </a:solidFill>
              </a:rPr>
              <a:t>Срок не подошел       Выполнено        Незначительный срыв       Срыв </a:t>
            </a:r>
            <a:r>
              <a:rPr lang="ru-RU" sz="1600" dirty="0" smtClean="0">
                <a:solidFill>
                  <a:srgbClr val="414142"/>
                </a:solidFill>
              </a:rPr>
              <a:t>сроков</a:t>
            </a:r>
            <a:endParaRPr lang="ru-RU" sz="1600" dirty="0">
              <a:solidFill>
                <a:srgbClr val="414142"/>
              </a:solidFill>
            </a:endParaRPr>
          </a:p>
        </p:txBody>
      </p:sp>
      <p:sp>
        <p:nvSpPr>
          <p:cNvPr id="18416736" name="Овал 13"/>
          <p:cNvSpPr>
            <a:spLocks noChangeArrowheads="1"/>
          </p:cNvSpPr>
          <p:nvPr/>
        </p:nvSpPr>
        <p:spPr bwMode="auto">
          <a:xfrm>
            <a:off x="66675" y="6432550"/>
            <a:ext cx="288925" cy="2889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91392" tIns="45695" rIns="91392" bIns="45695" anchor="ctr"/>
          <a:lstStyle/>
          <a:p>
            <a:pPr algn="ctr" defTabSz="955675"/>
            <a:endParaRPr lang="ru-RU" sz="1400">
              <a:solidFill>
                <a:srgbClr val="414142"/>
              </a:solidFill>
            </a:endParaRPr>
          </a:p>
        </p:txBody>
      </p:sp>
      <p:sp>
        <p:nvSpPr>
          <p:cNvPr id="18416737" name="Овал 23"/>
          <p:cNvSpPr>
            <a:spLocks noChangeArrowheads="1"/>
          </p:cNvSpPr>
          <p:nvPr/>
        </p:nvSpPr>
        <p:spPr bwMode="auto">
          <a:xfrm>
            <a:off x="2144713" y="6484938"/>
            <a:ext cx="288925" cy="288925"/>
          </a:xfrm>
          <a:prstGeom prst="ellipse">
            <a:avLst/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lIns="91392" tIns="45695" rIns="91392" bIns="45695" anchor="ctr"/>
          <a:lstStyle/>
          <a:p>
            <a:pPr algn="ctr" defTabSz="955675"/>
            <a:endParaRPr lang="ru-RU" sz="1400">
              <a:solidFill>
                <a:srgbClr val="414142"/>
              </a:solidFill>
            </a:endParaRPr>
          </a:p>
        </p:txBody>
      </p:sp>
      <p:sp>
        <p:nvSpPr>
          <p:cNvPr id="18416738" name="Овал 24"/>
          <p:cNvSpPr>
            <a:spLocks noChangeArrowheads="1"/>
          </p:cNvSpPr>
          <p:nvPr/>
        </p:nvSpPr>
        <p:spPr bwMode="auto">
          <a:xfrm>
            <a:off x="3657600" y="6484938"/>
            <a:ext cx="288925" cy="288925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lIns="91392" tIns="45695" rIns="91392" bIns="45695" anchor="ctr"/>
          <a:lstStyle/>
          <a:p>
            <a:pPr algn="ctr" defTabSz="955675"/>
            <a:endParaRPr lang="ru-RU" sz="1400">
              <a:solidFill>
                <a:srgbClr val="414142"/>
              </a:solidFill>
            </a:endParaRPr>
          </a:p>
        </p:txBody>
      </p:sp>
      <p:sp>
        <p:nvSpPr>
          <p:cNvPr id="18416739" name="Овал 26"/>
          <p:cNvSpPr>
            <a:spLocks noChangeArrowheads="1"/>
          </p:cNvSpPr>
          <p:nvPr/>
        </p:nvSpPr>
        <p:spPr bwMode="auto">
          <a:xfrm>
            <a:off x="6248400" y="6481763"/>
            <a:ext cx="287338" cy="288925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lIns="91392" tIns="45695" rIns="91392" bIns="45695" anchor="ctr"/>
          <a:lstStyle/>
          <a:p>
            <a:pPr algn="ctr" defTabSz="955675"/>
            <a:endParaRPr lang="ru-RU" sz="1400">
              <a:solidFill>
                <a:srgbClr val="414142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66654" y="0"/>
            <a:ext cx="85725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err="1" smtClean="0">
                <a:solidFill>
                  <a:schemeClr val="tx2">
                    <a:lumMod val="75000"/>
                  </a:schemeClr>
                </a:solidFill>
              </a:rPr>
              <a:t>ПСР-проект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 лицея №18 «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Повышение эффективности работы по ведению журналов   и дневников учащихся образовательной организации – внедрение электронных журналов и  электронных дневников»</a:t>
            </a:r>
            <a:endParaRPr lang="ru-RU" sz="1600" b="1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238090" y="1000106"/>
          <a:ext cx="9501255" cy="4929224"/>
        </p:xfrm>
        <a:graphic>
          <a:graphicData uri="http://schemas.openxmlformats.org/drawingml/2006/table">
            <a:tbl>
              <a:tblPr/>
              <a:tblGrid>
                <a:gridCol w="571506"/>
                <a:gridCol w="5786478"/>
                <a:gridCol w="1000132"/>
                <a:gridCol w="686891"/>
                <a:gridCol w="1456248"/>
              </a:tblGrid>
              <a:tr h="3740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№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400" b="1" i="0" u="none" strike="noStrike" baseline="0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/</a:t>
                      </a:r>
                      <a:r>
                        <a:rPr lang="ru-RU" sz="1400" b="1" i="0" u="none" strike="noStrike" baseline="0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Ключевые вех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Срок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тус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рректирующие мероприят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01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всех педагогических работников рабочим местом для работы с ИСОУ с выходом в Интернет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 15.08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endParaRPr lang="ru-RU" sz="7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Заполнение учителями электронного журнала в режиме апробаци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 15.07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86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Заполнение актуальных баз данных информационной системы электронного дневника и электронного журнала успеваем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 15.08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8696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Выдача индивидуальных логинов и паролей для доступа к электронному дневнику учащегося и электронному журналу успеваемости в ИСОУ: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3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родители (законные представители)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до 26.08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93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учащиеся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26.08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86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Активация пользователей (родителей) в информационной системе электронного дневника и электронного журнала успеваемости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01.09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86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полнение учителями электронного журнала в штатном режиме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конца 2020-2021 учебн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986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Выявление проблем при использовании ИСОУ. Решение проблем, корректировк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 конца 2020-2021 учебн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9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Тиражирование опыта на ОУ города Орла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5.12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24" name="Овал 23"/>
          <p:cNvSpPr>
            <a:spLocks noChangeArrowheads="1"/>
          </p:cNvSpPr>
          <p:nvPr/>
        </p:nvSpPr>
        <p:spPr bwMode="auto">
          <a:xfrm>
            <a:off x="7881958" y="1500174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25" name="Овал 24"/>
          <p:cNvSpPr>
            <a:spLocks noChangeArrowheads="1"/>
          </p:cNvSpPr>
          <p:nvPr/>
        </p:nvSpPr>
        <p:spPr bwMode="auto">
          <a:xfrm>
            <a:off x="7881958" y="2000240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2" name="Овал 31"/>
          <p:cNvSpPr>
            <a:spLocks noChangeArrowheads="1"/>
          </p:cNvSpPr>
          <p:nvPr/>
        </p:nvSpPr>
        <p:spPr bwMode="auto">
          <a:xfrm>
            <a:off x="7881958" y="2428868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3" name="Овал 32"/>
          <p:cNvSpPr>
            <a:spLocks noChangeArrowheads="1"/>
          </p:cNvSpPr>
          <p:nvPr/>
        </p:nvSpPr>
        <p:spPr bwMode="auto">
          <a:xfrm>
            <a:off x="7881958" y="4429132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4" name="Овал 33"/>
          <p:cNvSpPr>
            <a:spLocks noChangeArrowheads="1"/>
          </p:cNvSpPr>
          <p:nvPr/>
        </p:nvSpPr>
        <p:spPr bwMode="auto">
          <a:xfrm>
            <a:off x="7881958" y="3929066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5" name="Овал 34"/>
          <p:cNvSpPr>
            <a:spLocks noChangeArrowheads="1"/>
          </p:cNvSpPr>
          <p:nvPr/>
        </p:nvSpPr>
        <p:spPr bwMode="auto">
          <a:xfrm>
            <a:off x="7881958" y="3143248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6" name="Овал 35"/>
          <p:cNvSpPr>
            <a:spLocks noChangeArrowheads="1"/>
          </p:cNvSpPr>
          <p:nvPr/>
        </p:nvSpPr>
        <p:spPr bwMode="auto">
          <a:xfrm>
            <a:off x="7881958" y="5000636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  <p:sp>
        <p:nvSpPr>
          <p:cNvPr id="37" name="Овал 36"/>
          <p:cNvSpPr>
            <a:spLocks noChangeArrowheads="1"/>
          </p:cNvSpPr>
          <p:nvPr/>
        </p:nvSpPr>
        <p:spPr bwMode="auto">
          <a:xfrm>
            <a:off x="7881958" y="5500702"/>
            <a:ext cx="288925" cy="288925"/>
          </a:xfrm>
          <a:prstGeom prst="ellipse">
            <a:avLst/>
          </a:prstGeom>
          <a:solidFill>
            <a:srgbClr val="A2E399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9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7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0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1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1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2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2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3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3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4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4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5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6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6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7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4128</TotalTime>
  <Words>335</Words>
  <Application>Microsoft Office PowerPoint</Application>
  <PresentationFormat>Лист A4 (210x297 мм)</PresentationFormat>
  <Paragraphs>96</Paragraphs>
  <Slides>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39" baseType="lpstr">
      <vt:lpstr>ＭＳ Ｐゴシック</vt:lpstr>
      <vt:lpstr>Arial</vt:lpstr>
      <vt:lpstr>Calibri</vt:lpstr>
      <vt:lpstr>Fira Sans</vt:lpstr>
      <vt:lpstr>Microsoft Sans Serif</vt:lpstr>
      <vt:lpstr>Times New Roman</vt:lpstr>
      <vt:lpstr>Wingdings</vt:lpstr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11_b-default</vt:lpstr>
      <vt:lpstr>12_b-default</vt:lpstr>
      <vt:lpstr>13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14_b-default</vt:lpstr>
      <vt:lpstr>15_b-default</vt:lpstr>
      <vt:lpstr>16_b-default</vt:lpstr>
      <vt:lpstr>think-cell Slide</vt:lpstr>
      <vt:lpstr>ПСР-проект лицея №18 «Повышение эффективности работы по ведению журналов   и дневников учащихся образовательной организации – внедрение электронных журналов и  электронных дневников» »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Евгений Эдуардович</cp:lastModifiedBy>
  <cp:revision>1460</cp:revision>
  <cp:lastPrinted>2019-12-23T10:18:25Z</cp:lastPrinted>
  <dcterms:created xsi:type="dcterms:W3CDTF">2015-03-06T06:22:34Z</dcterms:created>
  <dcterms:modified xsi:type="dcterms:W3CDTF">2022-01-18T07:04:04Z</dcterms:modified>
</cp:coreProperties>
</file>